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4" d="100"/>
          <a:sy n="84" d="100"/>
        </p:scale>
        <p:origin x="-1116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7265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83122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618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762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155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823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8777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0360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1100805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4462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318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798753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921269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360" imgH="360" progId="">
                  <p:embed/>
                </p:oleObj>
              </mc:Choice>
              <mc:Fallback>
                <p:oleObj name="think-cell Foli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err="1" smtClean="0">
                <a:solidFill>
                  <a:srgbClr val="7F7F7F"/>
                </a:solidFill>
              </a:rPr>
              <a:t>Modèle</a:t>
            </a:r>
            <a:r>
              <a:rPr lang="en-GB" dirty="0" smtClean="0">
                <a:solidFill>
                  <a:srgbClr val="7F7F7F"/>
                </a:solidFill>
              </a:rPr>
              <a:t> </a:t>
            </a:r>
            <a:r>
              <a:rPr lang="en-GB" dirty="0" err="1" smtClean="0">
                <a:solidFill>
                  <a:srgbClr val="7F7F7F"/>
                </a:solidFill>
              </a:rPr>
              <a:t>Sidel</a:t>
            </a:r>
            <a:r>
              <a:rPr lang="en-GB" dirty="0" smtClean="0">
                <a:solidFill>
                  <a:srgbClr val="7F7F7F"/>
                </a:solidFill>
              </a:rPr>
              <a:t> 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30 July 2014</a:t>
            </a:fld>
            <a:r>
              <a:rPr lang="en-GB" dirty="0" smtClean="0">
                <a:solidFill>
                  <a:srgbClr val="7F7F7F"/>
                </a:solidFill>
              </a:rPr>
              <a:t> – </a:t>
            </a:r>
            <a:r>
              <a:rPr lang="en-GB" dirty="0" err="1" smtClean="0">
                <a:solidFill>
                  <a:srgbClr val="7F7F7F"/>
                </a:solidFill>
              </a:rPr>
              <a:t>Confidentiel</a:t>
            </a:r>
            <a:endParaRPr lang="fr-FR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fr-FR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052037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88728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/>
          <a:p>
            <a:r>
              <a:rPr lang="fr-FR" dirty="0"/>
              <a:t>M</a:t>
            </a:r>
            <a:r>
              <a:rPr lang="fr-FR" dirty="0" smtClean="0"/>
              <a:t>aintenance et </a:t>
            </a:r>
            <a:r>
              <a:rPr lang="fr-FR" dirty="0"/>
              <a:t>nettoyage </a:t>
            </a:r>
            <a:r>
              <a:rPr lang="fr-FR" dirty="0" smtClean="0"/>
              <a:t>simplifiés de la boucheuse</a:t>
            </a:r>
            <a:r>
              <a:rPr lang="fr-FR" dirty="0"/>
              <a:t/>
            </a:r>
            <a:br>
              <a:rPr lang="fr-FR" dirty="0"/>
            </a:br>
            <a:endParaRPr lang="fr-FR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609055"/>
            <a:ext cx="7997825" cy="307777"/>
          </a:xfrm>
        </p:spPr>
        <p:txBody>
          <a:bodyPr vert="horz" lIns="0" tIns="0" rIns="0" bIns="0" rtlCol="0" anchor="b">
            <a:spAutoFit/>
          </a:bodyPr>
          <a:lstStyle/>
          <a:p>
            <a:r>
              <a:rPr dirty="0" smtClean="0"/>
              <a:t>Nouvelle </a:t>
            </a:r>
            <a:r>
              <a:rPr dirty="0" err="1" smtClean="0"/>
              <a:t>boucheuse</a:t>
            </a:r>
            <a:r>
              <a:rPr dirty="0" smtClean="0"/>
              <a:t> Ultraclean</a:t>
            </a:r>
            <a:endParaRPr dirty="0" smtClean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eur</a:t>
            </a:r>
            <a:r>
              <a:rPr sz="800" kern="0" dirty="0">
                <a:solidFill>
                  <a:srgbClr val="000000"/>
                </a:solidFill>
              </a:rPr>
              <a:t> : </a:t>
            </a:r>
            <a:r>
              <a:rPr sz="800" kern="0" dirty="0" err="1" smtClean="0">
                <a:solidFill>
                  <a:srgbClr val="000000"/>
                </a:solidFill>
              </a:rPr>
              <a:t>Qualité</a:t>
            </a:r>
            <a:r>
              <a:rPr sz="800" kern="0" dirty="0" smtClean="0">
                <a:solidFill>
                  <a:srgbClr val="000000"/>
                </a:solidFill>
              </a:rPr>
              <a:t> du </a:t>
            </a:r>
            <a:r>
              <a:rPr sz="800" kern="0" dirty="0" err="1" smtClean="0">
                <a:solidFill>
                  <a:srgbClr val="000000"/>
                </a:solidFill>
              </a:rPr>
              <a:t>produit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Équipements : </a:t>
            </a:r>
            <a:r>
              <a:rPr sz="800" kern="0" dirty="0" err="1">
                <a:solidFill>
                  <a:srgbClr val="000000"/>
                </a:solidFill>
              </a:rPr>
              <a:t>remplisseuses</a:t>
            </a:r>
            <a:r>
              <a:rPr sz="800" kern="0">
                <a:solidFill>
                  <a:srgbClr val="000000"/>
                </a:solidFill>
              </a:rPr>
              <a:t> </a:t>
            </a:r>
            <a:r>
              <a:rPr sz="800" kern="0" smtClean="0">
                <a:solidFill>
                  <a:srgbClr val="000000"/>
                </a:solidFill>
              </a:rPr>
              <a:t>standard</a:t>
            </a:r>
            <a:endParaRPr lang="fr-FR"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Code catalogue : </a:t>
            </a:r>
            <a:r>
              <a:rPr sz="800" kern="0" dirty="0" smtClean="0">
                <a:solidFill>
                  <a:srgbClr val="000000"/>
                </a:solidFill>
              </a:rPr>
              <a:t>HS007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6994290"/>
              </p:ext>
            </p:extLst>
          </p:nvPr>
        </p:nvGraphicFramePr>
        <p:xfrm>
          <a:off x="651885" y="1997456"/>
          <a:ext cx="7997390" cy="3735800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6045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347960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Composants en acier inoxydable : pas de rouille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ouvelle came pour une meilleure efficacité du bouchage. Roulements à ressort pour un meilleur centrage bouteille.         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Extracteurs avec hygiène renforcée et réduction de mousse.                      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Colonne anti-vibrations : vibrations réduites de la boucheuse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ouvelles têtes en acier inoxydable sans graissage.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Zone de bouchage entièrement ouverte pour un nettoyage simplifié de la filière et de la tête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ispositif de pré-centrage en partie supérieure pour limiter les défauts dus aux bouchons mal positionnés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Goulotte conçue pour guider le bouchon et le positionner correctement dans la filière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Trémie centrifuge avec canaux d'alimentation ouverts pour un nettoyage simplifié et un flux plus régulier des bouchons. Composants de la trémie et des canaux entièrement en acier inoxydable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isponible avec le système de transfert </a:t>
                      </a:r>
                      <a:r>
                        <a:rPr kumimoji="0" lang="fr-FR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ick</a:t>
                      </a: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&amp; Place (étoile de transfert bouchons) ou avec le système d'alimentation Free-Flow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5" y="4149080"/>
            <a:ext cx="552890" cy="1512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80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126</Words>
  <Application>Microsoft Office PowerPoint</Application>
  <PresentationFormat>Affichage à l'écran (4:3)</PresentationFormat>
  <Paragraphs>17</Paragraphs>
  <Slides>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3" baseType="lpstr">
      <vt:lpstr>Sidel Template 2013</vt:lpstr>
      <vt:lpstr>think-cell Folie</vt:lpstr>
      <vt:lpstr>Maintenance et nettoyage simplifiés de la boucheuse </vt:lpstr>
    </vt:vector>
  </TitlesOfParts>
  <Company>Side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gmentez la durée de vie des vannes de pressurisation</dc:title>
  <dc:creator>Gouriou, Lydie</dc:creator>
  <cp:lastModifiedBy>Gouriou, Lydie</cp:lastModifiedBy>
  <cp:revision>2</cp:revision>
  <dcterms:created xsi:type="dcterms:W3CDTF">2014-07-30T12:46:59Z</dcterms:created>
  <dcterms:modified xsi:type="dcterms:W3CDTF">2014-07-30T12:55:22Z</dcterms:modified>
</cp:coreProperties>
</file>